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790" r:id="rId8"/>
  </p:sldMasterIdLst>
  <p:notesMasterIdLst>
    <p:notesMasterId r:id="rId65"/>
  </p:notesMasterIdLst>
  <p:sldIdLst>
    <p:sldId id="256" r:id="rId9"/>
    <p:sldId id="257" r:id="rId10"/>
    <p:sldId id="266" r:id="rId11"/>
    <p:sldId id="260" r:id="rId12"/>
    <p:sldId id="263" r:id="rId13"/>
    <p:sldId id="2942" r:id="rId14"/>
    <p:sldId id="10830" r:id="rId15"/>
    <p:sldId id="10878" r:id="rId16"/>
    <p:sldId id="10872" r:id="rId17"/>
    <p:sldId id="955" r:id="rId18"/>
    <p:sldId id="10879" r:id="rId19"/>
    <p:sldId id="10880" r:id="rId20"/>
    <p:sldId id="10881" r:id="rId21"/>
    <p:sldId id="1792" r:id="rId22"/>
    <p:sldId id="10874" r:id="rId23"/>
    <p:sldId id="779" r:id="rId24"/>
    <p:sldId id="823" r:id="rId25"/>
    <p:sldId id="871" r:id="rId26"/>
    <p:sldId id="10875" r:id="rId27"/>
    <p:sldId id="296" r:id="rId28"/>
    <p:sldId id="10876" r:id="rId29"/>
    <p:sldId id="10789" r:id="rId30"/>
    <p:sldId id="515" r:id="rId31"/>
    <p:sldId id="10778" r:id="rId32"/>
    <p:sldId id="10837" r:id="rId33"/>
    <p:sldId id="10866" r:id="rId34"/>
    <p:sldId id="10867" r:id="rId35"/>
    <p:sldId id="10868" r:id="rId36"/>
    <p:sldId id="10869" r:id="rId37"/>
    <p:sldId id="1729" r:id="rId38"/>
    <p:sldId id="10870" r:id="rId39"/>
    <p:sldId id="787" r:id="rId40"/>
    <p:sldId id="10877" r:id="rId41"/>
    <p:sldId id="959" r:id="rId42"/>
    <p:sldId id="882" r:id="rId43"/>
    <p:sldId id="964" r:id="rId44"/>
    <p:sldId id="966" r:id="rId45"/>
    <p:sldId id="965" r:id="rId46"/>
    <p:sldId id="967" r:id="rId47"/>
    <p:sldId id="10859" r:id="rId48"/>
    <p:sldId id="868" r:id="rId49"/>
    <p:sldId id="1897" r:id="rId50"/>
    <p:sldId id="1898" r:id="rId51"/>
    <p:sldId id="1899" r:id="rId52"/>
    <p:sldId id="1900" r:id="rId53"/>
    <p:sldId id="2892" r:id="rId54"/>
    <p:sldId id="10871" r:id="rId55"/>
    <p:sldId id="10865" r:id="rId56"/>
    <p:sldId id="409" r:id="rId57"/>
    <p:sldId id="2149" r:id="rId58"/>
    <p:sldId id="10863" r:id="rId59"/>
    <p:sldId id="10846" r:id="rId60"/>
    <p:sldId id="10799" r:id="rId61"/>
    <p:sldId id="10822" r:id="rId62"/>
    <p:sldId id="269" r:id="rId63"/>
    <p:sldId id="2123" r:id="rId64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4D"/>
    <a:srgbClr val="000099"/>
    <a:srgbClr val="D01F29"/>
    <a:srgbClr val="339933"/>
    <a:srgbClr val="E936E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88" autoAdjust="0"/>
    <p:restoredTop sz="91226" autoAdjust="0"/>
  </p:normalViewPr>
  <p:slideViewPr>
    <p:cSldViewPr snapToGrid="0">
      <p:cViewPr varScale="1">
        <p:scale>
          <a:sx n="101" d="100"/>
          <a:sy n="101" d="100"/>
        </p:scale>
        <p:origin x="120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slide" Target="slides/slide55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61" Type="http://schemas.openxmlformats.org/officeDocument/2006/relationships/slide" Target="slides/slide53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viewProps" Target="view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var\folders\c5\czdz5sk15ll8rmfswkk530vw0000gp\T\com.microsoft.Outlook\DrFirst%20Provider%20List%2010_26_20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r>
              <a:rPr lang="en-US"/>
              <a:t>CMC EPCS Summary</a:t>
            </a:r>
          </a:p>
        </c:rich>
      </c:tx>
      <c:layout>
        <c:manualLayout>
          <c:xMode val="edge"/>
          <c:yMode val="edge"/>
          <c:x val="0.31782633420822398"/>
          <c:y val="3.7037037037037035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TCM!$A$1231:$A$1234</c:f>
              <c:strCache>
                <c:ptCount val="4"/>
                <c:pt idx="0">
                  <c:v>Active Meditech users</c:v>
                </c:pt>
                <c:pt idx="1">
                  <c:v>Actvie EPCS Users</c:v>
                </c:pt>
                <c:pt idx="2">
                  <c:v>EPCS Enrolled</c:v>
                </c:pt>
                <c:pt idx="3">
                  <c:v>EPCS in Process</c:v>
                </c:pt>
              </c:strCache>
            </c:strRef>
          </c:cat>
          <c:val>
            <c:numRef>
              <c:f>TCM!$B$1231:$B$1234</c:f>
              <c:numCache>
                <c:formatCode>General</c:formatCode>
                <c:ptCount val="4"/>
                <c:pt idx="0">
                  <c:v>1207</c:v>
                </c:pt>
                <c:pt idx="1">
                  <c:v>72</c:v>
                </c:pt>
                <c:pt idx="2">
                  <c:v>75</c:v>
                </c:pt>
                <c:pt idx="3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267-D14A-95A3-15791EDB59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81701224"/>
        <c:axId val="481704752"/>
      </c:barChart>
      <c:catAx>
        <c:axId val="481701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81704752"/>
        <c:crosses val="autoZero"/>
        <c:auto val="1"/>
        <c:lblAlgn val="ctr"/>
        <c:lblOffset val="100"/>
        <c:noMultiLvlLbl val="0"/>
      </c:catAx>
      <c:valAx>
        <c:axId val="481704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vert="horz"/>
          <a:lstStyle/>
          <a:p>
            <a:pPr>
              <a:defRPr sz="9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4817012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1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xmlns="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xmlns="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xmlns="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7885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4371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6531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697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1579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0912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6142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atients must meet the following criteria for inclus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4059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xmlns="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xmlns="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xmlns="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xmlns="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xmlns="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xmlns="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xmlns="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xmlns="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xmlns="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738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17ED3-D021-4269-9EEF-9BF7B2E65DEC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50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20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307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630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567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1/6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160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1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06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8836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xmlns="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2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xmlns="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xmlns="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xmlns="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8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xmlns="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xmlns="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xmlns="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xmlns="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xmlns="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xmlns="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xmlns="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xmlns="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xmlns="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xmlns="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xmlns="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xmlns="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xmlns="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xmlns="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xmlns="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xmlns="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xmlns="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 dirty="0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subhead style, 20pt reg, Georgi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492" y="316599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882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 2: Title slide style, 28pt reg Aria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644" y="50625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379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173" y="6203240"/>
            <a:ext cx="2125228" cy="37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999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7267819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1902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009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 dirty="0"/>
              <a:t>Are there any 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if needed for closing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567" y="594462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1948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38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1/6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6.xml"/><Relationship Id="rId51" Type="http://schemas.openxmlformats.org/officeDocument/2006/relationships/tags" Target="../tags/tag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776" r:id="rId4"/>
    <p:sldLayoutId id="2147483817" r:id="rId5"/>
    <p:sldLayoutId id="2147483818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xmlns="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xmlns="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xmlns="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xmlns="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xmlns="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xmlns="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xmlns="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xmlns="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xmlns="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xmlns="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xmlns="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xmlns="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xmlns="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xmlns="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xmlns="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xmlns="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xmlns="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xmlns="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xmlns="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xmlns="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xmlns="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xmlns="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xmlns="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xmlns="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xmlns="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xmlns="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xmlns="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xmlns="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xmlns="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xmlns="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xmlns="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xmlns="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xmlns="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xmlns="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xmlns="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xmlns="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xmlns="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xmlns="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xmlns="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xmlns="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xmlns="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xmlns="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xmlns="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 smtClean="0">
                <a:solidFill>
                  <a:schemeClr val="bg1">
                    <a:lumMod val="85000"/>
                  </a:schemeClr>
                </a:solidFill>
              </a:rPr>
              <a:t>‹#›</a:t>
            </a:fld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825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1" kern="1200">
          <a:solidFill>
            <a:srgbClr val="00539B"/>
          </a:solidFill>
          <a:latin typeface="Arial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tiff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tiff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tiff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tiff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17.tiff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xmlns="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r>
              <a:rPr lang="en-US" altLang="en-US" sz="1800" dirty="0">
                <a:latin typeface="Baskerville Old Face" panose="02020602080505020303" pitchFamily="18" charset="0"/>
              </a:rPr>
              <a:t/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r>
              <a:rPr lang="en-US" altLang="en-US" sz="1800" dirty="0">
                <a:latin typeface="Baskerville Old Face" panose="02020602080505020303" pitchFamily="18" charset="0"/>
              </a:rPr>
              <a:t/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r>
              <a:rPr lang="en-US" altLang="en-US" sz="1800" dirty="0">
                <a:latin typeface="Baskerville Old Face" panose="02020602080505020303" pitchFamily="18" charset="0"/>
              </a:rPr>
              <a:t/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/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3200" i="1" dirty="0">
                <a:latin typeface="Baskerville Old Face" panose="02020602080505020303" pitchFamily="18" charset="0"/>
              </a:rPr>
              <a:t/>
            </a: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November 6</a:t>
            </a:r>
            <a:r>
              <a:rPr lang="en-US" altLang="en-US" sz="2400" i="1" baseline="30000" dirty="0">
                <a:latin typeface="Baskerville Old Face" panose="02020602080505020303" pitchFamily="18" charset="0"/>
              </a:rPr>
              <a:t>th</a:t>
            </a:r>
            <a:r>
              <a:rPr lang="en-US" altLang="en-US" sz="2400" dirty="0">
                <a:latin typeface="Baskerville Old Face" panose="02020602080505020303" pitchFamily="18" charset="0"/>
              </a:rPr>
              <a:t>,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xmlns="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902" y="0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REFLEC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065700"/>
            <a:ext cx="12192000" cy="8861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C0C0A"/>
          </a:solidFill>
          <a:ln>
            <a:solidFill>
              <a:srgbClr val="0B0B0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>
              <a:spcAft>
                <a:spcPts val="1800"/>
              </a:spcAft>
            </a:pPr>
            <a:endParaRPr lang="en-US" sz="2800" dirty="0">
              <a:latin typeface="Calisto MT" panose="02040603050505030304" pitchFamily="18" charset="0"/>
            </a:endParaRPr>
          </a:p>
          <a:p>
            <a:pPr>
              <a:spcAft>
                <a:spcPts val="1800"/>
              </a:spcAft>
            </a:pPr>
            <a:r>
              <a:rPr lang="en-US" sz="2800" dirty="0">
                <a:latin typeface="Calisto MT" panose="02040603050505030304" pitchFamily="18" charset="0"/>
              </a:rPr>
              <a:t>                  Honoring</a:t>
            </a:r>
          </a:p>
          <a:p>
            <a:pPr>
              <a:spcAft>
                <a:spcPts val="1800"/>
              </a:spcAft>
            </a:pPr>
            <a:r>
              <a:rPr lang="en-US" sz="2800" dirty="0">
                <a:latin typeface="Calisto MT" panose="02040603050505030304" pitchFamily="18" charset="0"/>
              </a:rPr>
              <a:t>      Dr. </a:t>
            </a:r>
            <a:r>
              <a:rPr lang="en-US" sz="2800" dirty="0" err="1">
                <a:latin typeface="Calisto MT" panose="02040603050505030304" pitchFamily="18" charset="0"/>
              </a:rPr>
              <a:t>Bodindr</a:t>
            </a:r>
            <a:r>
              <a:rPr lang="en-US" sz="2800" dirty="0">
                <a:latin typeface="Calisto MT" panose="02040603050505030304" pitchFamily="18" charset="0"/>
              </a:rPr>
              <a:t> </a:t>
            </a:r>
            <a:r>
              <a:rPr lang="en-US" sz="2800" dirty="0" err="1">
                <a:latin typeface="Calisto MT" panose="02040603050505030304" pitchFamily="18" charset="0"/>
              </a:rPr>
              <a:t>Thepchatri</a:t>
            </a:r>
            <a:endParaRPr lang="en-US" sz="2800" dirty="0">
              <a:latin typeface="Calisto MT" panose="0204060305050503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4257" y="314543"/>
            <a:ext cx="4355628" cy="29136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71" y="314543"/>
            <a:ext cx="4355627" cy="291367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929596" y="3963334"/>
            <a:ext cx="401547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erved the Denver City and Yoakum County communities with unmatched compassion and kindness.</a:t>
            </a:r>
          </a:p>
          <a:p>
            <a:pPr algn="ctr"/>
            <a:r>
              <a:rPr lang="en-US" dirty="0"/>
              <a:t>“Tirelessly cared for his patients, in his clinic, at Yoakum County Hospital and at </a:t>
            </a:r>
            <a:r>
              <a:rPr lang="en-US" dirty="0" err="1"/>
              <a:t>Shinnery</a:t>
            </a:r>
            <a:r>
              <a:rPr lang="en-US" dirty="0"/>
              <a:t> Oaks Community.  His kind spirit and dedication enhanced the lives of countless patients.”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/>
          <a:srcRect l="15066" t="13784" r="16868" b="12942"/>
          <a:stretch/>
        </p:blipFill>
        <p:spPr>
          <a:xfrm rot="5400000">
            <a:off x="3923710" y="2369336"/>
            <a:ext cx="4344578" cy="3509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166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2D31A9B3-6ABC-4B09-B8C7-3224B2659C0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75" y="903946"/>
            <a:ext cx="4962168" cy="496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D45C9D02-F16A-4008-B9A8-316C3051169A" descr="image00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39" r="-523"/>
          <a:stretch/>
        </p:blipFill>
        <p:spPr bwMode="auto">
          <a:xfrm>
            <a:off x="5219043" y="802251"/>
            <a:ext cx="3080249" cy="516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A73AAC32-8ACE-4F1D-AF3B-CA1FE97F6B04" descr="image00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44" r="646" b="34182"/>
          <a:stretch/>
        </p:blipFill>
        <p:spPr bwMode="auto">
          <a:xfrm>
            <a:off x="9127259" y="903946"/>
            <a:ext cx="3862412" cy="516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37365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25342" b="10475"/>
          <a:stretch/>
        </p:blipFill>
        <p:spPr>
          <a:xfrm>
            <a:off x="268136" y="80345"/>
            <a:ext cx="2868054" cy="312821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8004" y="238192"/>
            <a:ext cx="4392893" cy="329638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4234" y="228538"/>
            <a:ext cx="3679636" cy="476055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3455" y="3581595"/>
            <a:ext cx="2425907" cy="31385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/>
          <a:srcRect l="13648" t="46257" r="7623"/>
          <a:stretch/>
        </p:blipFill>
        <p:spPr>
          <a:xfrm>
            <a:off x="191068" y="3534575"/>
            <a:ext cx="3080085" cy="29883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l="20645" t="19883" r="21250" b="13450"/>
          <a:stretch/>
        </p:blipFill>
        <p:spPr>
          <a:xfrm>
            <a:off x="6121664" y="3510065"/>
            <a:ext cx="2162570" cy="321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506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4F724E-357F-F642-A880-1A6BCA456B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f you have thoughts or remembrances of these fine gentlemen, feel free to share them in the Chat Box</a:t>
            </a:r>
          </a:p>
        </p:txBody>
      </p:sp>
    </p:spTree>
    <p:extLst>
      <p:ext uri="{BB962C8B-B14F-4D97-AF65-F5344CB8AC3E}">
        <p14:creationId xmlns:p14="http://schemas.microsoft.com/office/powerpoint/2010/main" val="2569562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628" y="0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39735" y="5107429"/>
          <a:ext cx="11312527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471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119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19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94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5203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1634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6782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232541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6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79,9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8,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05,8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69,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3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7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0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8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6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,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8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010" y="1162954"/>
            <a:ext cx="11440487" cy="3652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826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209108" y="2103369"/>
            <a:ext cx="37404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FIRMED COVID+ HOSPITALIZATIONS /HOSPITAL CAPACITY </a:t>
            </a:r>
          </a:p>
          <a:p>
            <a:endParaRPr lang="en-US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9749" y="4223386"/>
            <a:ext cx="32064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El Paso has not reached their peak ye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2DFF3DF-E642-724F-8490-1E9E791604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264" y="562901"/>
            <a:ext cx="8422075" cy="6138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4116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as of Thursday AM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84776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0" y="5516819"/>
            <a:ext cx="11901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2: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2 Hospitalized in Lubbock –  36 on vents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11/4: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298 Hospitalized in Lubbock –   41 on vents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211" y="943904"/>
            <a:ext cx="11799725" cy="459117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5140712" y="935063"/>
            <a:ext cx="635849" cy="4522470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5776561" y="943904"/>
            <a:ext cx="958776" cy="4513629"/>
          </a:xfrm>
          <a:prstGeom prst="rect">
            <a:avLst/>
          </a:prstGeom>
          <a:noFill/>
          <a:ln w="285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7984812" y="811790"/>
            <a:ext cx="858827" cy="4732134"/>
          </a:xfrm>
          <a:prstGeom prst="rect">
            <a:avLst/>
          </a:prstGeom>
          <a:noFill/>
          <a:ln w="28575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8814004" y="888505"/>
            <a:ext cx="858828" cy="4655418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932451" y="943904"/>
            <a:ext cx="858827" cy="4583359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4325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SHS – RAC Mee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800" y="1172246"/>
            <a:ext cx="11390630" cy="275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Medical Incident Support Team (MIST) plans: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MIST Team </a:t>
            </a: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and B RAC areas</a:t>
            </a: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 the transfers, monitor diversion and appropriate requests / denials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to log our current requests and reason for denials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55C52020-7A3B-8946-B5D0-23C5FE35D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847155"/>
              </p:ext>
            </p:extLst>
          </p:nvPr>
        </p:nvGraphicFramePr>
        <p:xfrm>
          <a:off x="2573374" y="3782698"/>
          <a:ext cx="7045252" cy="2125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2626">
                  <a:extLst>
                    <a:ext uri="{9D8B030D-6E8A-4147-A177-3AD203B41FA5}">
                      <a16:colId xmlns:a16="http://schemas.microsoft.com/office/drawing/2014/main" xmlns="" val="1932473354"/>
                    </a:ext>
                  </a:extLst>
                </a:gridCol>
                <a:gridCol w="3522626">
                  <a:extLst>
                    <a:ext uri="{9D8B030D-6E8A-4147-A177-3AD203B41FA5}">
                      <a16:colId xmlns:a16="http://schemas.microsoft.com/office/drawing/2014/main" xmlns="" val="1668908185"/>
                    </a:ext>
                  </a:extLst>
                </a:gridCol>
              </a:tblGrid>
              <a:tr h="28498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rea of Orig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 of Pati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78451996"/>
                  </a:ext>
                </a:extLst>
              </a:tr>
              <a:tr h="40661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C B (Lubbock Reg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3409409"/>
                  </a:ext>
                </a:extLst>
              </a:tr>
              <a:tr h="40661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C A (Amarillo Reg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42037699"/>
                  </a:ext>
                </a:extLst>
              </a:tr>
              <a:tr h="58087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C J (Midland/Odessa Reg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90713558"/>
                  </a:ext>
                </a:extLst>
              </a:tr>
              <a:tr h="28498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ew 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995475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20DAAA7-EEF5-8E4D-9843-BE7C488287A8}"/>
              </a:ext>
            </a:extLst>
          </p:cNvPr>
          <p:cNvSpPr txBox="1"/>
          <p:nvPr/>
        </p:nvSpPr>
        <p:spPr>
          <a:xfrm>
            <a:off x="620486" y="4506686"/>
            <a:ext cx="8485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update</a:t>
            </a:r>
          </a:p>
        </p:txBody>
      </p:sp>
    </p:spTree>
    <p:extLst>
      <p:ext uri="{BB962C8B-B14F-4D97-AF65-F5344CB8AC3E}">
        <p14:creationId xmlns:p14="http://schemas.microsoft.com/office/powerpoint/2010/main" val="21386478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101193"/>
            <a:ext cx="9784080" cy="115262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AC-DSH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2400" y="1083742"/>
            <a:ext cx="102488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Medical Incident Support Team (MIST)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" y="1999648"/>
            <a:ext cx="80957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Sending patients to Colorado, Austin and East Tex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Houston, San Antonio and Dallas not taking any pati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Amarillo VA approved to accept Non-Veteran COVID pati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Ambulance strike team in A/B RAC to transport patients from larger hospitals to smaller hospital </a:t>
            </a:r>
            <a:r>
              <a:rPr lang="en-US" sz="2400" dirty="0" err="1">
                <a:solidFill>
                  <a:schemeClr val="bg1"/>
                </a:solidFill>
              </a:rPr>
              <a:t>stepdown</a:t>
            </a:r>
            <a:r>
              <a:rPr lang="en-US" sz="2400" dirty="0">
                <a:solidFill>
                  <a:schemeClr val="bg1"/>
                </a:solidFill>
              </a:rPr>
              <a:t> uni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Small hospitals encouraged expand bed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4224" y="1834989"/>
            <a:ext cx="3987775" cy="454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87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xmlns="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5114"/>
            <a:ext cx="9784080" cy="13144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78230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5/2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7738" y="1837079"/>
            <a:ext cx="5771328" cy="41719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243" y="1837079"/>
            <a:ext cx="5979252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49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	cases-hospitalized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98618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5/2020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54264" y="2954954"/>
            <a:ext cx="61957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ED HOLDS =1    Back on Diversion 11/4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4780" y="1554968"/>
            <a:ext cx="9553260" cy="45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951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512711"/>
              </p:ext>
            </p:extLst>
          </p:nvPr>
        </p:nvGraphicFramePr>
        <p:xfrm>
          <a:off x="2032000" y="874930"/>
          <a:ext cx="8128000" cy="57650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56803988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E4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10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0027989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35B4F667-D8B1-A84B-B087-E08FF3A0A23E}"/>
              </a:ext>
            </a:extLst>
          </p:cNvPr>
          <p:cNvGrpSpPr/>
          <p:nvPr/>
        </p:nvGrpSpPr>
        <p:grpSpPr>
          <a:xfrm>
            <a:off x="1148992" y="6126552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xmlns="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2AF7951-22D2-6740-B4ED-504BBDC61F43}"/>
              </a:ext>
            </a:extLst>
          </p:cNvPr>
          <p:cNvGrpSpPr/>
          <p:nvPr/>
        </p:nvGrpSpPr>
        <p:grpSpPr>
          <a:xfrm>
            <a:off x="1159774" y="5696968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xmlns="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08708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8915" y="159048"/>
            <a:ext cx="9784080" cy="965002"/>
          </a:xfrm>
        </p:spPr>
        <p:txBody>
          <a:bodyPr/>
          <a:lstStyle/>
          <a:p>
            <a:pPr algn="ctr"/>
            <a:r>
              <a:rPr lang="en-US" dirty="0"/>
              <a:t>CENSUS</a:t>
            </a:r>
          </a:p>
        </p:txBody>
      </p:sp>
      <p:sp>
        <p:nvSpPr>
          <p:cNvPr id="6" name="Rectangle 5"/>
          <p:cNvSpPr/>
          <p:nvPr/>
        </p:nvSpPr>
        <p:spPr>
          <a:xfrm>
            <a:off x="-10222" y="1001884"/>
            <a:ext cx="12202222" cy="12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549549"/>
              </p:ext>
            </p:extLst>
          </p:nvPr>
        </p:nvGraphicFramePr>
        <p:xfrm>
          <a:off x="713990" y="1214368"/>
          <a:ext cx="10607726" cy="4949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53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447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635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898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389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0609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2485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5798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90337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9408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7830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914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 (</a:t>
                      </a:r>
                      <a:r>
                        <a:rPr lang="en-US" sz="2000" b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0</a:t>
                      </a:r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2000" b="1" i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4996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H (</a:t>
                      </a:r>
                      <a:r>
                        <a:rPr lang="en-US" sz="2000" b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1800" b="1" i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C (</a:t>
                      </a:r>
                      <a:r>
                        <a:rPr lang="en-US" sz="2000" b="1" i="0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00963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2000" b="1" i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09336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P (</a:t>
                      </a:r>
                      <a:r>
                        <a:rPr lang="en-US" sz="2000" b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1800" b="1" i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834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 (</a:t>
                      </a:r>
                      <a:r>
                        <a:rPr lang="en-US" sz="2000" b="1" i="0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77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H (</a:t>
                      </a:r>
                      <a:r>
                        <a:rPr lang="en-US" sz="2000" b="1" u="sng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r>
                        <a:rPr lang="en-US" sz="2000" b="1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u="sng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u="sng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u="sng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u="sng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sng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149180" y="6347691"/>
            <a:ext cx="29690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20D0B"/>
                </a:solidFill>
              </a:rPr>
              <a:t>Capacity Status RED Square</a:t>
            </a:r>
          </a:p>
        </p:txBody>
      </p:sp>
    </p:spTree>
    <p:extLst>
      <p:ext uri="{BB962C8B-B14F-4D97-AF65-F5344CB8AC3E}">
        <p14:creationId xmlns:p14="http://schemas.microsoft.com/office/powerpoint/2010/main" val="12805827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illiam Sommer</a:t>
            </a:r>
          </a:p>
          <a:p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linical Data Analyst</a:t>
            </a:r>
          </a:p>
          <a:p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linical Excellence</a:t>
            </a:r>
          </a:p>
          <a:p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venant Health</a:t>
            </a:r>
          </a:p>
          <a:p>
            <a:endParaRPr lang="en-US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255659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0D42C36-173D-3A4C-9998-A5A0287DA2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337" y="977262"/>
            <a:ext cx="6449325" cy="578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020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4E6C262-336C-4DC6-87B8-721766973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654" y="1341941"/>
            <a:ext cx="11624692" cy="4174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4170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F172647-2D02-4E3C-93C7-4FFA9D6F7C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834" y="1488887"/>
            <a:ext cx="11040022" cy="3988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2125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New Covid-19 POSITIVES by Day Trend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47AF46D-CF9C-4E8C-8F1B-DBDE3DEA2C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907" y="1125413"/>
            <a:ext cx="8738185" cy="50372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FF7A09D-6397-418D-A735-9F7B52037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59" y="1125413"/>
            <a:ext cx="1133633" cy="62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93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POSITIVES Age Distribution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AC1999A-4E24-4D41-90C4-D2BC303A79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586" y="1125413"/>
            <a:ext cx="9498828" cy="54158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1A5004C-CEA1-47A5-8D5A-C2AAC4417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5414" y="562657"/>
            <a:ext cx="1156777" cy="1125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73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xmlns="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xmlns="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Daily Positive Rate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423A34D-858B-4690-A686-C91B2CCF55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8773" y="1125413"/>
            <a:ext cx="9954454" cy="55831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239FBFC-9EF2-4F8F-A0F1-9F893C4EB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469" y="3613637"/>
            <a:ext cx="1755531" cy="606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455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F841817-7CF2-4641-B182-58CDEB5F9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10650" y="1789405"/>
            <a:ext cx="1066949" cy="68589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40B0EB2D-BFEE-483D-AC97-E312C4B15E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3327" y="975947"/>
            <a:ext cx="8159464" cy="5882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916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7802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79474" y="2318104"/>
            <a:ext cx="515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1.4% are positiv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378" y="2905403"/>
            <a:ext cx="11852528" cy="3321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51808" y="196362"/>
            <a:ext cx="3873061" cy="2582041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xmlns="" id="{C59159BA-5B72-A443-8509-40A704217143}"/>
              </a:ext>
            </a:extLst>
          </p:cNvPr>
          <p:cNvSpPr/>
          <p:nvPr/>
        </p:nvSpPr>
        <p:spPr>
          <a:xfrm>
            <a:off x="11312017" y="5573319"/>
            <a:ext cx="815257" cy="78066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026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14960" y="225959"/>
            <a:ext cx="1250696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9655" y="395631"/>
            <a:ext cx="9784080" cy="119959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STAR Request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43079"/>
            <a:ext cx="12192000" cy="638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592" y="1296283"/>
            <a:ext cx="6437091" cy="549226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1828476-CBB9-3943-93B9-E7ACFB02DA9F}"/>
              </a:ext>
            </a:extLst>
          </p:cNvPr>
          <p:cNvSpPr txBox="1"/>
          <p:nvPr/>
        </p:nvSpPr>
        <p:spPr>
          <a:xfrm>
            <a:off x="7917050" y="3565097"/>
            <a:ext cx="36331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If you see staff in Black Scrubs, please tell them “Thank you”!</a:t>
            </a:r>
          </a:p>
        </p:txBody>
      </p:sp>
    </p:spTree>
    <p:extLst>
      <p:ext uri="{BB962C8B-B14F-4D97-AF65-F5344CB8AC3E}">
        <p14:creationId xmlns:p14="http://schemas.microsoft.com/office/powerpoint/2010/main" val="12953302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039" y="-36385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71852"/>
            <a:ext cx="12192000" cy="74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716647" y="1171852"/>
            <a:ext cx="10758706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Limiting visitors- </a:t>
            </a:r>
          </a:p>
          <a:p>
            <a:pPr>
              <a:spcAft>
                <a:spcPts val="600"/>
              </a:spcAft>
            </a:pP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ors in isolation or </a:t>
            </a:r>
            <a:r>
              <a:rPr lang="en-US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oms?  No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Non-essential”  visitors?  No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ors for pts at end of life? 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5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students/residents?  1 may entering the room with isolation and COVID patients 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nteers? No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 pediatric exceptions?  As per law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7CD43D2-FCDF-E843-BE5B-2EB83E407B27}"/>
              </a:ext>
            </a:extLst>
          </p:cNvPr>
          <p:cNvSpPr txBox="1"/>
          <p:nvPr/>
        </p:nvSpPr>
        <p:spPr>
          <a:xfrm>
            <a:off x="1344160" y="5286038"/>
            <a:ext cx="86979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Please do do not grant “special permissions”!  This confuses pts, families, staff!</a:t>
            </a:r>
          </a:p>
        </p:txBody>
      </p:sp>
    </p:spTree>
    <p:extLst>
      <p:ext uri="{BB962C8B-B14F-4D97-AF65-F5344CB8AC3E}">
        <p14:creationId xmlns:p14="http://schemas.microsoft.com/office/powerpoint/2010/main" val="39542213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039" y="-36385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 TOPIC n-95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71852"/>
            <a:ext cx="12192000" cy="74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108680"/>
              </p:ext>
            </p:extLst>
          </p:nvPr>
        </p:nvGraphicFramePr>
        <p:xfrm>
          <a:off x="1025662" y="1275252"/>
          <a:ext cx="10572171" cy="5166129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5709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73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040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161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2785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08965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692445">
                <a:tc>
                  <a:txBody>
                    <a:bodyPr/>
                    <a:lstStyle/>
                    <a:p>
                      <a:endParaRPr lang="en-US" sz="2400" dirty="0">
                        <a:latin typeface=" 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 Arial"/>
                        </a:rPr>
                        <a:t>8210</a:t>
                      </a:r>
                    </a:p>
                  </a:txBody>
                  <a:tcP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 Arial"/>
                        </a:rPr>
                        <a:t>9205</a:t>
                      </a:r>
                    </a:p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 Arial"/>
                        </a:rPr>
                        <a:t>Large </a:t>
                      </a:r>
                    </a:p>
                  </a:txBody>
                  <a:tcP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 Arial"/>
                        </a:rPr>
                        <a:t>Green Stripe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 Arial"/>
                        </a:rPr>
                        <a:t>Duckbill</a:t>
                      </a:r>
                      <a:r>
                        <a:rPr lang="en-US" sz="2400" baseline="0" dirty="0">
                          <a:solidFill>
                            <a:schemeClr val="tx1"/>
                          </a:solidFill>
                          <a:latin typeface=" Arial"/>
                        </a:rPr>
                        <a:t> Regular</a:t>
                      </a:r>
                      <a:endParaRPr lang="en-US" sz="2400" dirty="0">
                        <a:solidFill>
                          <a:schemeClr val="tx1"/>
                        </a:solidFill>
                        <a:latin typeface=" Arial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 Arial"/>
                        </a:rPr>
                        <a:t>Duckbill small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07767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Supp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G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New</a:t>
                      </a:r>
                    </a:p>
                    <a:p>
                      <a:r>
                        <a:rPr lang="en-US" sz="2000" dirty="0">
                          <a:latin typeface=" Arial"/>
                        </a:rPr>
                        <a:t>Have not received</a:t>
                      </a:r>
                      <a:r>
                        <a:rPr lang="en-US" sz="2000" baseline="0" dirty="0">
                          <a:latin typeface=" Arial"/>
                        </a:rPr>
                        <a:t> shipment</a:t>
                      </a:r>
                      <a:endParaRPr lang="en-US" sz="2000" dirty="0">
                        <a:latin typeface=" 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Fair </a:t>
                      </a:r>
                    </a:p>
                    <a:p>
                      <a:r>
                        <a:rPr lang="en-US" sz="2000" dirty="0">
                          <a:latin typeface=" Arial"/>
                        </a:rPr>
                        <a:t>Next shipment will not arrive until Jan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Poor</a:t>
                      </a:r>
                    </a:p>
                    <a:p>
                      <a:r>
                        <a:rPr lang="en-US" sz="2000" dirty="0">
                          <a:latin typeface=" Arial"/>
                        </a:rPr>
                        <a:t>Not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Poor plu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 Arial"/>
                        </a:rPr>
                        <a:t>On</a:t>
                      </a:r>
                      <a:r>
                        <a:rPr lang="en-US" sz="2000" baseline="0" dirty="0">
                          <a:latin typeface=" Arial"/>
                        </a:rPr>
                        <a:t> order, but will need fit testing</a:t>
                      </a:r>
                      <a:endParaRPr lang="en-US" sz="2000" dirty="0">
                        <a:latin typeface=" 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63802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Non-procedural</a:t>
                      </a:r>
                      <a:r>
                        <a:rPr lang="en-US" sz="2400" baseline="0" dirty="0">
                          <a:latin typeface=" Arial"/>
                        </a:rPr>
                        <a:t> areas</a:t>
                      </a:r>
                      <a:endParaRPr lang="en-US" sz="2400" dirty="0">
                        <a:latin typeface=" 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FF0000"/>
                          </a:solidFill>
                          <a:latin typeface=" Arial"/>
                        </a:rPr>
                        <a:t>NO</a:t>
                      </a:r>
                    </a:p>
                    <a:p>
                      <a:r>
                        <a:rPr lang="en-US" sz="1800" dirty="0">
                          <a:latin typeface=" Arial"/>
                        </a:rPr>
                        <a:t>Exception-May</a:t>
                      </a:r>
                      <a:r>
                        <a:rPr lang="en-US" sz="1800" baseline="0" dirty="0">
                          <a:latin typeface=" Arial"/>
                        </a:rPr>
                        <a:t> fit on larger faces when 8210 does not work</a:t>
                      </a:r>
                      <a:endParaRPr lang="en-US" sz="1800" dirty="0">
                        <a:latin typeface=" 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FF0000"/>
                          </a:solidFill>
                          <a:latin typeface=" Arial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FF0000"/>
                          </a:solidFill>
                          <a:latin typeface=" Arial"/>
                        </a:rPr>
                        <a:t>NO</a:t>
                      </a:r>
                    </a:p>
                    <a:p>
                      <a:r>
                        <a:rPr lang="en-US" sz="1800" dirty="0">
                          <a:latin typeface=" Arial"/>
                        </a:rPr>
                        <a:t>Exception-Usually</a:t>
                      </a:r>
                      <a:r>
                        <a:rPr lang="en-US" sz="1800" baseline="0" dirty="0">
                          <a:latin typeface=" Arial"/>
                        </a:rPr>
                        <a:t> fits on smaller faces when 8210 does not work</a:t>
                      </a:r>
                      <a:endParaRPr lang="en-US" sz="1800" dirty="0">
                        <a:latin typeface=" 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07767"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Procedural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FF0000"/>
                          </a:solidFill>
                          <a:latin typeface=" Arial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FF0000"/>
                          </a:solidFill>
                          <a:latin typeface=" Arial"/>
                        </a:rPr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latin typeface=" Arial"/>
                        </a:rPr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4974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039" y="-36385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 TOPIC n-95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71852"/>
            <a:ext cx="12192000" cy="74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58039" y="1280340"/>
            <a:ext cx="8218027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For those that need a Large n-95: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M 9205 has been ordered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a dozen on hand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28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y on a caregiver did not fit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 solutions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have personal N-95s, notify IP and Safety to inspect and research it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NOT work in areas that require a properly fitted N-95 until one is provide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8482" y="1917577"/>
            <a:ext cx="3171102" cy="305595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905740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039" y="-36385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 TOPIC n-95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71852"/>
            <a:ext cx="12192000" cy="74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78789" y="1917577"/>
            <a:ext cx="8851237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stomeric Respirators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fluid resistant, not recommended for use with patient care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al for non-patient care use such as cleaning areas or non-clinical uses 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fit testing and medical health screen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7105" y="431072"/>
            <a:ext cx="3426106" cy="342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2481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486" y="183952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 TOPIC isolation gown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71852"/>
            <a:ext cx="12192000" cy="74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12186" y="1937081"/>
            <a:ext cx="11050427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 deliveries between 11pm-5am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is due to staffing levels for Central Supply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counts to areas last night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18-20 day supply on hand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d another STAR request for 20,000 gowns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sables expected this week or next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592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xmlns="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xmlns="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308950"/>
            <a:ext cx="4206240" cy="1752600"/>
          </a:xfrm>
        </p:spPr>
        <p:txBody>
          <a:bodyPr/>
          <a:lstStyle/>
          <a:p>
            <a:r>
              <a:rPr lang="en-US" dirty="0"/>
              <a:t>Jason T. Loos, MD</a:t>
            </a:r>
          </a:p>
          <a:p>
            <a:r>
              <a:rPr lang="en-US" dirty="0" err="1"/>
              <a:t>Ameripath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5764C73-1FC4-8B44-8C12-EA705D3762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873" y="80965"/>
            <a:ext cx="10465934" cy="67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029000" y="4627581"/>
            <a:ext cx="98421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ity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wn, will not be up before Friday </a:t>
            </a:r>
          </a:p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G-Expect shipment Friday</a:t>
            </a:r>
          </a:p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-received shipment last week</a:t>
            </a:r>
            <a:endParaRPr lang="en-US" sz="2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6248400" y="1215071"/>
          <a:ext cx="5403397" cy="1643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60823" y="3841027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02839" y="3835635"/>
            <a:ext cx="51499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&gt;750          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60823" y="4172851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60823" y="4504675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40262" y="3407935"/>
            <a:ext cx="7425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PC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20195" y="3422291"/>
            <a:ext cx="1085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Rapids</a:t>
            </a:r>
          </a:p>
        </p:txBody>
      </p:sp>
    </p:spTree>
    <p:extLst>
      <p:ext uri="{BB962C8B-B14F-4D97-AF65-F5344CB8AC3E}">
        <p14:creationId xmlns:p14="http://schemas.microsoft.com/office/powerpoint/2010/main" val="2415805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harmac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dirty="0">
                <a:ea typeface="+mn-lt"/>
                <a:cs typeface="+mn-lt"/>
              </a:rPr>
              <a:t>Wesley Wells, </a:t>
            </a:r>
            <a:r>
              <a:rPr lang="en-US" dirty="0" err="1">
                <a:ea typeface="+mn-lt"/>
                <a:cs typeface="+mn-lt"/>
              </a:rPr>
              <a:t>PharmD</a:t>
            </a:r>
            <a:endParaRPr lang="en-US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Regional Pharmacy Director </a:t>
            </a:r>
          </a:p>
          <a:p>
            <a:r>
              <a:rPr lang="en-US" dirty="0">
                <a:ea typeface="+mn-lt"/>
                <a:cs typeface="+mn-lt"/>
              </a:rPr>
              <a:t>Covenant 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76311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rmacy Update</a:t>
            </a:r>
          </a:p>
        </p:txBody>
      </p:sp>
      <p:graphicFrame>
        <p:nvGraphicFramePr>
          <p:cNvPr id="7" name="Table 11">
            <a:extLst>
              <a:ext uri="{FF2B5EF4-FFF2-40B4-BE49-F238E27FC236}">
                <a16:creationId xmlns:a16="http://schemas.microsoft.com/office/drawing/2014/main" xmlns="" id="{16FA6D2A-7F5C-4536-886B-B9B3C071B4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185610"/>
              </p:ext>
            </p:extLst>
          </p:nvPr>
        </p:nvGraphicFramePr>
        <p:xfrm>
          <a:off x="538676" y="1312994"/>
          <a:ext cx="11043724" cy="3977914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907244">
                  <a:extLst>
                    <a:ext uri="{9D8B030D-6E8A-4147-A177-3AD203B41FA5}">
                      <a16:colId xmlns:a16="http://schemas.microsoft.com/office/drawing/2014/main" xmlns="" val="2215980099"/>
                    </a:ext>
                  </a:extLst>
                </a:gridCol>
                <a:gridCol w="5231887">
                  <a:extLst>
                    <a:ext uri="{9D8B030D-6E8A-4147-A177-3AD203B41FA5}">
                      <a16:colId xmlns:a16="http://schemas.microsoft.com/office/drawing/2014/main" xmlns="" val="1686246411"/>
                    </a:ext>
                  </a:extLst>
                </a:gridCol>
                <a:gridCol w="3904593">
                  <a:extLst>
                    <a:ext uri="{9D8B030D-6E8A-4147-A177-3AD203B41FA5}">
                      <a16:colId xmlns:a16="http://schemas.microsoft.com/office/drawing/2014/main" xmlns="" val="9674293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/>
                        <a:t>Medication</a:t>
                      </a:r>
                      <a:endParaRPr lang="en-US" sz="2000" b="1" kern="1200" dirty="0">
                        <a:solidFill>
                          <a:srgbClr val="00206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2000" kern="1200" dirty="0"/>
                        <a:t>Current State</a:t>
                      </a:r>
                      <a:endParaRPr lang="en-US" sz="2000" b="1" kern="1200" dirty="0">
                        <a:solidFill>
                          <a:srgbClr val="00206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/>
                        <a:t>Updates/Issues</a:t>
                      </a:r>
                      <a:endParaRPr lang="en-US" sz="2000" b="1" kern="1200" dirty="0">
                        <a:solidFill>
                          <a:srgbClr val="00206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08858105"/>
                  </a:ext>
                </a:extLst>
              </a:tr>
              <a:tr h="20271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Remdesivir</a:t>
                      </a:r>
                      <a:endParaRPr lang="en-US" sz="1800" b="1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800" kern="1200" dirty="0">
                        <a:solidFill>
                          <a:schemeClr val="bg1"/>
                        </a:solidFill>
                      </a:endParaRPr>
                    </a:p>
                    <a:p>
                      <a:pPr marL="0" algn="ctr" defTabSz="914400" rtl="0" eaLnBrk="1" latinLnBrk="0" hangingPunct="1"/>
                      <a:endParaRPr lang="en-US" sz="1800" kern="1200" dirty="0">
                        <a:solidFill>
                          <a:schemeClr val="bg1"/>
                        </a:solidFill>
                      </a:endParaRPr>
                    </a:p>
                    <a:p>
                      <a:pPr marL="0" algn="ctr" defTabSz="914400" rtl="0" eaLnBrk="1" latinLnBrk="0" hangingPunct="1"/>
                      <a:endParaRPr lang="en-US" sz="1800" kern="1200" dirty="0">
                        <a:solidFill>
                          <a:schemeClr val="bg1"/>
                        </a:solidFill>
                      </a:endParaRPr>
                    </a:p>
                    <a:p>
                      <a:pPr marL="0" algn="ctr" defTabSz="914400" rtl="0" eaLnBrk="1" latinLnBrk="0" hangingPunct="1"/>
                      <a:endParaRPr lang="en-US" sz="1800" kern="1200" dirty="0">
                        <a:solidFill>
                          <a:schemeClr val="bg1"/>
                        </a:solidFill>
                      </a:endParaRPr>
                    </a:p>
                    <a:p>
                      <a:pPr marL="0" algn="ctr" defTabSz="914400" rtl="0" eaLnBrk="1" latinLnBrk="0" hangingPunct="1"/>
                      <a:endParaRPr lang="en-US" sz="1800" kern="1200" dirty="0">
                        <a:solidFill>
                          <a:schemeClr val="bg1"/>
                        </a:solidFill>
                      </a:endParaRPr>
                    </a:p>
                    <a:p>
                      <a:pPr marL="0" algn="ctr" defTabSz="914400" rtl="0" eaLnBrk="1" latinLnBrk="0" hangingPunct="1"/>
                      <a:endParaRPr lang="en-US" sz="1800" b="1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Evaluating criteria for use</a:t>
                      </a:r>
                      <a:endParaRPr lang="en-US" sz="1800" b="0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3971497"/>
                  </a:ext>
                </a:extLst>
              </a:tr>
              <a:tr h="7302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Zanubrutinib</a:t>
                      </a:r>
                      <a:endParaRPr lang="en-US" sz="1800" b="1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Patients enrolled in study: 6 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Inpatients on medication: 0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Patients at home (discharged): 2</a:t>
                      </a:r>
                      <a:endParaRPr lang="en-US" sz="1800" b="0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No updates</a:t>
                      </a:r>
                      <a:endParaRPr lang="en-US" sz="2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483123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COVID Vaccine</a:t>
                      </a:r>
                      <a:endParaRPr lang="en-US" sz="1800" b="1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/>
                        <a:buChar char="•"/>
                      </a:pPr>
                      <a:r>
                        <a:rPr lang="en-US" sz="1800" kern="1200" dirty="0">
                          <a:solidFill>
                            <a:schemeClr val="bg1"/>
                          </a:solidFill>
                        </a:rPr>
                        <a:t>Currently in registration phase</a:t>
                      </a:r>
                      <a:endParaRPr lang="en-US" sz="1800" b="0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/>
                        <a:buChar char="•"/>
                      </a:pPr>
                      <a:r>
                        <a:rPr lang="en-US" sz="1800" u="none" strike="noStrike" kern="1200" noProof="0" dirty="0">
                          <a:solidFill>
                            <a:schemeClr val="bg1"/>
                          </a:solidFill>
                        </a:rPr>
                        <a:t>Need to register as soon as possible</a:t>
                      </a:r>
                    </a:p>
                    <a:p>
                      <a:pPr marL="742950" lvl="1" indent="-285750" algn="l">
                        <a:buFont typeface="Arial"/>
                        <a:buChar char="•"/>
                      </a:pPr>
                      <a:r>
                        <a:rPr lang="en-US" sz="1800" u="none" strike="noStrike" kern="1200" noProof="0" dirty="0">
                          <a:solidFill>
                            <a:schemeClr val="bg1"/>
                          </a:solidFill>
                        </a:rPr>
                        <a:t>EnrollTexasIZ.dshs.texas.gov</a:t>
                      </a:r>
                      <a:endParaRPr lang="en-US" sz="1800" b="0" kern="1200" dirty="0">
                        <a:solidFill>
                          <a:schemeClr val="bg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72747565"/>
                  </a:ext>
                </a:extLst>
              </a:tr>
            </a:tbl>
          </a:graphicData>
        </a:graphic>
      </p:graphicFrame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xmlns="" id="{673D8324-3DF4-4635-963C-512C538BCB76}"/>
              </a:ext>
            </a:extLst>
          </p:cNvPr>
          <p:cNvGraphicFramePr>
            <a:graphicFrameLocks noGrp="1"/>
          </p:cNvGraphicFramePr>
          <p:nvPr/>
        </p:nvGraphicFramePr>
        <p:xfrm>
          <a:off x="2618962" y="1790598"/>
          <a:ext cx="4895478" cy="185928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362941">
                  <a:extLst>
                    <a:ext uri="{9D8B030D-6E8A-4147-A177-3AD203B41FA5}">
                      <a16:colId xmlns:a16="http://schemas.microsoft.com/office/drawing/2014/main" xmlns="" val="2117385413"/>
                    </a:ext>
                  </a:extLst>
                </a:gridCol>
                <a:gridCol w="1418897">
                  <a:extLst>
                    <a:ext uri="{9D8B030D-6E8A-4147-A177-3AD203B41FA5}">
                      <a16:colId xmlns:a16="http://schemas.microsoft.com/office/drawing/2014/main" xmlns="" val="1429329193"/>
                    </a:ext>
                  </a:extLst>
                </a:gridCol>
                <a:gridCol w="1113640">
                  <a:extLst>
                    <a:ext uri="{9D8B030D-6E8A-4147-A177-3AD203B41FA5}">
                      <a16:colId xmlns:a16="http://schemas.microsoft.com/office/drawing/2014/main" xmlns="" val="232812883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inistry</a:t>
                      </a:r>
                      <a:endParaRPr lang="en-US" sz="14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Vials Used on </a:t>
                      </a:r>
                    </a:p>
                    <a:p>
                      <a:pPr algn="ctr"/>
                      <a:r>
                        <a:rPr lang="en-US" sz="1400" dirty="0"/>
                        <a:t>Previous Day</a:t>
                      </a:r>
                      <a:endParaRPr lang="en-US" sz="14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tock</a:t>
                      </a:r>
                    </a:p>
                    <a:p>
                      <a:pPr algn="ctr"/>
                      <a:r>
                        <a:rPr lang="en-US" sz="1400" dirty="0"/>
                        <a:t>(vials)</a:t>
                      </a:r>
                      <a:endParaRPr lang="en-US" sz="14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0273949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Covenant Medical Center</a:t>
                      </a:r>
                      <a:endParaRPr lang="en-US" sz="14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dirty="0"/>
                        <a:t>55</a:t>
                      </a:r>
                      <a:endParaRPr lang="en-US" sz="16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dirty="0">
                          <a:effectLst/>
                        </a:rPr>
                        <a:t>432</a:t>
                      </a:r>
                      <a:endParaRPr lang="en-US" sz="1600" b="1" dirty="0">
                        <a:solidFill>
                          <a:srgbClr val="00B050"/>
                        </a:solidFill>
                        <a:effectLst/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605379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Covenant Children’s Hospital</a:t>
                      </a:r>
                      <a:endParaRPr lang="en-US" sz="14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</a:t>
                      </a:r>
                      <a:endParaRPr lang="en-US" sz="16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0</a:t>
                      </a:r>
                      <a:endParaRPr lang="en-US" sz="1600" b="1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087273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Covenant Plainview</a:t>
                      </a:r>
                      <a:endParaRPr lang="en-US" sz="14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dirty="0"/>
                        <a:t>18</a:t>
                      </a:r>
                      <a:endParaRPr lang="en-US" sz="16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kern="1200" dirty="0">
                          <a:effectLst/>
                        </a:rPr>
                        <a:t>93</a:t>
                      </a:r>
                      <a:endParaRPr lang="en-US" sz="1600" b="1" kern="1200" dirty="0">
                        <a:solidFill>
                          <a:srgbClr val="00B050"/>
                        </a:solidFill>
                        <a:effectLst/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719158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Covenant Levelland</a:t>
                      </a:r>
                      <a:endParaRPr lang="en-US" sz="14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dirty="0"/>
                        <a:t>4</a:t>
                      </a:r>
                      <a:endParaRPr lang="en-US" sz="16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</a:rPr>
                        <a:t>49</a:t>
                      </a:r>
                      <a:endParaRPr lang="en-US" sz="1600" b="1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08886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309331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generon</a:t>
            </a:r>
            <a:r>
              <a:rPr lang="en-US" dirty="0"/>
              <a:t> 2066 Tr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bg1"/>
                </a:solidFill>
              </a:rPr>
              <a:t>Anti-spike SARS-COV-2 monoclonal antibodies for the treatment of hospitalized patients with covid-19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events the binding of virus to cells</a:t>
            </a:r>
          </a:p>
          <a:p>
            <a:r>
              <a:rPr lang="en-US" dirty="0">
                <a:solidFill>
                  <a:schemeClr val="bg1"/>
                </a:solidFill>
              </a:rPr>
              <a:t>Phase 3 trial, plans to enroll 1350 patients</a:t>
            </a:r>
          </a:p>
          <a:p>
            <a:r>
              <a:rPr lang="en-US" dirty="0">
                <a:solidFill>
                  <a:schemeClr val="bg1"/>
                </a:solidFill>
              </a:rPr>
              <a:t>3 treatment arms</a:t>
            </a:r>
          </a:p>
          <a:p>
            <a:r>
              <a:rPr lang="en-US" dirty="0">
                <a:solidFill>
                  <a:schemeClr val="bg1"/>
                </a:solidFill>
              </a:rPr>
              <a:t>Infusion of study drug or placebo over 1 hour</a:t>
            </a:r>
          </a:p>
          <a:p>
            <a:r>
              <a:rPr lang="en-US" dirty="0">
                <a:solidFill>
                  <a:schemeClr val="bg1"/>
                </a:solidFill>
              </a:rPr>
              <a:t>CMC PI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Dr. </a:t>
            </a:r>
            <a:r>
              <a:rPr lang="en-US" dirty="0" err="1">
                <a:solidFill>
                  <a:schemeClr val="bg1"/>
                </a:solidFill>
              </a:rPr>
              <a:t>Duriex</a:t>
            </a:r>
            <a:r>
              <a:rPr lang="en-US" dirty="0">
                <a:solidFill>
                  <a:schemeClr val="bg1"/>
                </a:solidFill>
              </a:rPr>
              <a:t> and Dr. Shrestha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Obtain ID consult for incl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90593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66 Criteria for I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>
                <a:solidFill>
                  <a:schemeClr val="bg1"/>
                </a:solidFill>
              </a:rPr>
              <a:t>Adult ≥ 18 years of age who provides informed consent</a:t>
            </a:r>
          </a:p>
          <a:p>
            <a:r>
              <a:rPr lang="en-US" dirty="0">
                <a:solidFill>
                  <a:schemeClr val="bg1"/>
                </a:solidFill>
              </a:rPr>
              <a:t>SARS-CoV-2-positive test result ≤ 72 hours prior to randomization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Outside record acceptable</a:t>
            </a:r>
          </a:p>
          <a:p>
            <a:r>
              <a:rPr lang="en-US" dirty="0">
                <a:solidFill>
                  <a:schemeClr val="bg1"/>
                </a:solidFill>
              </a:rPr>
              <a:t>Symptoms consistent w/ COVID-19, onset ≤ 10 days before randomization</a:t>
            </a:r>
          </a:p>
          <a:p>
            <a:r>
              <a:rPr lang="en-US" dirty="0">
                <a:solidFill>
                  <a:schemeClr val="bg1"/>
                </a:solidFill>
              </a:rPr>
              <a:t>Hospitalized for ≤ 72 hours AND;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Maintains O2 saturation &gt;93% on low-flow oxygen via nasal cannula, simple face mask, or other similar device</a:t>
            </a:r>
          </a:p>
          <a:p>
            <a:pPr marL="514350" lvl="1" indent="0">
              <a:buNone/>
            </a:pPr>
            <a:r>
              <a:rPr lang="en-US" dirty="0">
                <a:solidFill>
                  <a:schemeClr val="bg1"/>
                </a:solidFill>
              </a:rPr>
              <a:t>-OR-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High-intensity oxygen therapy without mechanical ventilation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Non-</a:t>
            </a:r>
            <a:r>
              <a:rPr lang="en-US" dirty="0" err="1">
                <a:solidFill>
                  <a:schemeClr val="bg1"/>
                </a:solidFill>
              </a:rPr>
              <a:t>rebreather</a:t>
            </a:r>
            <a:r>
              <a:rPr lang="en-US" dirty="0">
                <a:solidFill>
                  <a:schemeClr val="bg1"/>
                </a:solidFill>
              </a:rPr>
              <a:t> mask (with SpO2 ≤96% while receiving O2 flow rate of at least 10 L/min)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High-flow device with at least 50% FiO2</a:t>
            </a:r>
          </a:p>
          <a:p>
            <a:pPr lvl="2"/>
            <a:r>
              <a:rPr lang="en-US" dirty="0">
                <a:solidFill>
                  <a:schemeClr val="bg1"/>
                </a:solidFill>
              </a:rPr>
              <a:t>Non-invasive ventilator, including continuous positive airway pressu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2571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4E84D51-FDA1-184F-A90D-AD0BC6664C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nications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0EE2A53-E295-EE47-85B1-DB91C0A8FE7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FD8A7B4-A1EB-794D-B127-18F378E3F9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281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C648172-9320-6D42-A6C7-B932538AED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RAC-BRAC Collabo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845834F-0381-CC49-A32C-DE7362067A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ST Ambulance Strike Force team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Transferring lower acuity pts to smaller hospitals, making room </a:t>
            </a:r>
          </a:p>
          <a:p>
            <a:r>
              <a:rPr lang="en-US" dirty="0">
                <a:solidFill>
                  <a:schemeClr val="bg1"/>
                </a:solidFill>
              </a:rPr>
              <a:t>STAR Requests: 755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477 physicians, nurses, APPs in plac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PE Resources</a:t>
            </a:r>
          </a:p>
          <a:p>
            <a:r>
              <a:rPr lang="en-US" dirty="0">
                <a:solidFill>
                  <a:schemeClr val="bg1"/>
                </a:solidFill>
              </a:rPr>
              <a:t>Blue Med Tent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SME engineer site visit pending</a:t>
            </a:r>
          </a:p>
          <a:p>
            <a:r>
              <a:rPr lang="en-US" dirty="0">
                <a:solidFill>
                  <a:schemeClr val="bg1"/>
                </a:solidFill>
              </a:rPr>
              <a:t>Mortuary capacity being monitored closely</a:t>
            </a:r>
          </a:p>
        </p:txBody>
      </p:sp>
    </p:spTree>
    <p:extLst>
      <p:ext uri="{BB962C8B-B14F-4D97-AF65-F5344CB8AC3E}">
        <p14:creationId xmlns:p14="http://schemas.microsoft.com/office/powerpoint/2010/main" val="30957230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B87778-DBF1-204B-B54C-04962FA27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lectronic Prescrib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xmlns="" id="{988CFB79-D6B7-5541-9522-EDDCFCE5F56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55199563"/>
              </p:ext>
            </p:extLst>
          </p:nvPr>
        </p:nvGraphicFramePr>
        <p:xfrm>
          <a:off x="5736237" y="1843790"/>
          <a:ext cx="6001062" cy="3424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33AE390-2AA3-E143-BAEB-6903B652148A}"/>
              </a:ext>
            </a:extLst>
          </p:cNvPr>
          <p:cNvSpPr txBox="1"/>
          <p:nvPr/>
        </p:nvSpPr>
        <p:spPr>
          <a:xfrm>
            <a:off x="764499" y="1843790"/>
            <a:ext cx="4766872" cy="369331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EPCS is a STATE LAW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Beginning Jan 1</a:t>
            </a:r>
            <a:r>
              <a:rPr lang="en-US" sz="2400" dirty="0">
                <a:solidFill>
                  <a:schemeClr val="bg1"/>
                </a:solidFill>
              </a:rPr>
              <a:t>, you cannot prescribe Sched II-V narcotics with paper prescriptions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You MUST do it electronically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You MUST register soo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To enroll, contact Clinical Informatics at </a:t>
            </a:r>
          </a:p>
          <a:p>
            <a:r>
              <a:rPr lang="en-US" sz="2400" b="1" dirty="0">
                <a:solidFill>
                  <a:schemeClr val="bg1"/>
                </a:solidFill>
              </a:rPr>
              <a:t>      806-725-4189 ASAP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C0B4EEB5-2A7E-A942-BF43-4B0B5E9CCEA4}"/>
              </a:ext>
            </a:extLst>
          </p:cNvPr>
          <p:cNvSpPr/>
          <p:nvPr/>
        </p:nvSpPr>
        <p:spPr>
          <a:xfrm>
            <a:off x="10343214" y="4317167"/>
            <a:ext cx="1124262" cy="1304144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50279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xmlns="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xmlns="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within 3 business days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789B479-138B-2F44-808D-DE73B3390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92" y="0"/>
            <a:ext cx="10624016" cy="6858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189AB78-4835-8840-8F5F-2DD00FFEDAED}"/>
              </a:ext>
            </a:extLst>
          </p:cNvPr>
          <p:cNvSpPr txBox="1"/>
          <p:nvPr/>
        </p:nvSpPr>
        <p:spPr>
          <a:xfrm>
            <a:off x="2645090" y="4969756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9.9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4DEC990-4DBA-1D47-843B-4F4007B5E67A}"/>
              </a:ext>
            </a:extLst>
          </p:cNvPr>
          <p:cNvSpPr txBox="1"/>
          <p:nvPr/>
        </p:nvSpPr>
        <p:spPr>
          <a:xfrm>
            <a:off x="3614167" y="4960712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1.9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0BA3F80-C3C8-054B-85A9-796D2300143B}"/>
              </a:ext>
            </a:extLst>
          </p:cNvPr>
          <p:cNvSpPr txBox="1"/>
          <p:nvPr/>
        </p:nvSpPr>
        <p:spPr>
          <a:xfrm>
            <a:off x="4547748" y="4940862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3.8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D4E9595-F47C-A546-8027-314BE5585D3C}"/>
              </a:ext>
            </a:extLst>
          </p:cNvPr>
          <p:cNvSpPr txBox="1"/>
          <p:nvPr/>
        </p:nvSpPr>
        <p:spPr>
          <a:xfrm>
            <a:off x="5471191" y="4940862"/>
            <a:ext cx="842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3.1%</a:t>
            </a:r>
          </a:p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7197EC91-3BE3-FC46-8A18-9D1A943EEFB4}"/>
              </a:ext>
            </a:extLst>
          </p:cNvPr>
          <p:cNvSpPr txBox="1"/>
          <p:nvPr/>
        </p:nvSpPr>
        <p:spPr>
          <a:xfrm>
            <a:off x="6348775" y="4940862"/>
            <a:ext cx="7585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3.4%</a:t>
            </a:r>
          </a:p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DDCBF94-31D4-CB4D-92F3-7F3B21F19882}"/>
              </a:ext>
            </a:extLst>
          </p:cNvPr>
          <p:cNvSpPr txBox="1"/>
          <p:nvPr/>
        </p:nvSpPr>
        <p:spPr>
          <a:xfrm>
            <a:off x="7202883" y="4940862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2.1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7B7E76E-918F-5D47-BA42-80FCFE8BCE46}"/>
              </a:ext>
            </a:extLst>
          </p:cNvPr>
          <p:cNvSpPr txBox="1"/>
          <p:nvPr/>
        </p:nvSpPr>
        <p:spPr>
          <a:xfrm>
            <a:off x="8090830" y="491296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3.6%</a:t>
            </a:r>
          </a:p>
        </p:txBody>
      </p:sp>
    </p:spTree>
    <p:extLst>
      <p:ext uri="{BB962C8B-B14F-4D97-AF65-F5344CB8AC3E}">
        <p14:creationId xmlns:p14="http://schemas.microsoft.com/office/powerpoint/2010/main" val="170211969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288CD3D8-EB4F-124B-8C1D-217DA77A9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179" y="0"/>
            <a:ext cx="10537642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9B9B0D2D-85A2-F946-95F0-509F6FBDFAD6}"/>
              </a:ext>
            </a:extLst>
          </p:cNvPr>
          <p:cNvSpPr txBox="1"/>
          <p:nvPr/>
        </p:nvSpPr>
        <p:spPr>
          <a:xfrm>
            <a:off x="2715445" y="475891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7.3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FBEA94C-2EAE-1440-96C4-F7BC47D06E42}"/>
              </a:ext>
            </a:extLst>
          </p:cNvPr>
          <p:cNvSpPr txBox="1"/>
          <p:nvPr/>
        </p:nvSpPr>
        <p:spPr>
          <a:xfrm>
            <a:off x="3641086" y="4785009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8.3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9FA1CC04-3C30-A94C-BD01-DA80C5C4B68C}"/>
              </a:ext>
            </a:extLst>
          </p:cNvPr>
          <p:cNvSpPr txBox="1"/>
          <p:nvPr/>
        </p:nvSpPr>
        <p:spPr>
          <a:xfrm>
            <a:off x="5362252" y="4793503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8.8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E3E7671-22AF-7C41-821F-3BAA4A23A459}"/>
              </a:ext>
            </a:extLst>
          </p:cNvPr>
          <p:cNvSpPr txBox="1"/>
          <p:nvPr/>
        </p:nvSpPr>
        <p:spPr>
          <a:xfrm>
            <a:off x="4491889" y="4793503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8.1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E76E53E3-983D-0848-AC0C-D8C02C285DF5}"/>
              </a:ext>
            </a:extLst>
          </p:cNvPr>
          <p:cNvSpPr txBox="1"/>
          <p:nvPr/>
        </p:nvSpPr>
        <p:spPr>
          <a:xfrm>
            <a:off x="7255894" y="475891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31.8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5563A62C-B6CC-A741-95B1-B61652138252}"/>
              </a:ext>
            </a:extLst>
          </p:cNvPr>
          <p:cNvSpPr txBox="1"/>
          <p:nvPr/>
        </p:nvSpPr>
        <p:spPr>
          <a:xfrm>
            <a:off x="6424344" y="4758914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31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68C46B26-E2FD-5549-9CB8-7157B0E551C1}"/>
              </a:ext>
            </a:extLst>
          </p:cNvPr>
          <p:cNvSpPr txBox="1"/>
          <p:nvPr/>
        </p:nvSpPr>
        <p:spPr>
          <a:xfrm>
            <a:off x="8061045" y="4785009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30.8%</a:t>
            </a:r>
          </a:p>
        </p:txBody>
      </p:sp>
    </p:spTree>
    <p:extLst>
      <p:ext uri="{BB962C8B-B14F-4D97-AF65-F5344CB8AC3E}">
        <p14:creationId xmlns:p14="http://schemas.microsoft.com/office/powerpoint/2010/main" val="246459450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469F9263-2445-1E45-87E4-85866F94B5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574" y="0"/>
            <a:ext cx="10614851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6C85895-12BB-B743-A84F-B74035DDC233}"/>
              </a:ext>
            </a:extLst>
          </p:cNvPr>
          <p:cNvSpPr txBox="1"/>
          <p:nvPr/>
        </p:nvSpPr>
        <p:spPr>
          <a:xfrm>
            <a:off x="2686790" y="4935974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1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BA213E2E-1BE8-F64F-ABAE-91CB9F54C215}"/>
              </a:ext>
            </a:extLst>
          </p:cNvPr>
          <p:cNvSpPr txBox="1"/>
          <p:nvPr/>
        </p:nvSpPr>
        <p:spPr>
          <a:xfrm>
            <a:off x="3497207" y="493597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1.6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93CDA67-77C8-2A42-83F9-CD642E83312F}"/>
              </a:ext>
            </a:extLst>
          </p:cNvPr>
          <p:cNvSpPr txBox="1"/>
          <p:nvPr/>
        </p:nvSpPr>
        <p:spPr>
          <a:xfrm>
            <a:off x="4482351" y="493597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9.5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6E32CB4C-F54A-024F-AA5D-A1340C4FC179}"/>
              </a:ext>
            </a:extLst>
          </p:cNvPr>
          <p:cNvSpPr txBox="1"/>
          <p:nvPr/>
        </p:nvSpPr>
        <p:spPr>
          <a:xfrm>
            <a:off x="5415016" y="493597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2.1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8D2BAAD-8F12-1743-BC4A-D3B38A05C6FA}"/>
              </a:ext>
            </a:extLst>
          </p:cNvPr>
          <p:cNvSpPr txBox="1"/>
          <p:nvPr/>
        </p:nvSpPr>
        <p:spPr>
          <a:xfrm>
            <a:off x="6262623" y="493597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2.2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70DF5B5-3C85-EE4D-8081-9421F1ABB041}"/>
              </a:ext>
            </a:extLst>
          </p:cNvPr>
          <p:cNvSpPr txBox="1"/>
          <p:nvPr/>
        </p:nvSpPr>
        <p:spPr>
          <a:xfrm>
            <a:off x="7247915" y="4935974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3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0978FE3-1DA5-D847-B05A-DF7664B1D823}"/>
              </a:ext>
            </a:extLst>
          </p:cNvPr>
          <p:cNvSpPr txBox="1"/>
          <p:nvPr/>
        </p:nvSpPr>
        <p:spPr>
          <a:xfrm>
            <a:off x="8078201" y="4935974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2.2%</a:t>
            </a:r>
          </a:p>
        </p:txBody>
      </p:sp>
    </p:spTree>
    <p:extLst>
      <p:ext uri="{BB962C8B-B14F-4D97-AF65-F5344CB8AC3E}">
        <p14:creationId xmlns:p14="http://schemas.microsoft.com/office/powerpoint/2010/main" val="329265526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FC6B52DD-B8F3-964F-A8CB-449EA6728D4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w Mexico Demographic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xmlns="" id="{2D217E31-0D55-194A-B915-EC23E56152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5399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4FC5C03C-FC13-6747-95CA-15E226E361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754"/>
            <a:ext cx="12192000" cy="670049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D590B43-59A1-FD45-A42B-5E92DA06212D}"/>
              </a:ext>
            </a:extLst>
          </p:cNvPr>
          <p:cNvSpPr txBox="1"/>
          <p:nvPr/>
        </p:nvSpPr>
        <p:spPr>
          <a:xfrm>
            <a:off x="4153545" y="279400"/>
            <a:ext cx="41764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Updated every 2 Weeks; no new info</a:t>
            </a:r>
          </a:p>
        </p:txBody>
      </p:sp>
    </p:spTree>
    <p:extLst>
      <p:ext uri="{BB962C8B-B14F-4D97-AF65-F5344CB8AC3E}">
        <p14:creationId xmlns:p14="http://schemas.microsoft.com/office/powerpoint/2010/main" val="409443757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xmlns="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xmlns="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xmlns="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within 3 business days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1513" y="2880766"/>
            <a:ext cx="8838473" cy="1870729"/>
          </a:xfrm>
        </p:spPr>
        <p:txBody>
          <a:bodyPr/>
          <a:lstStyle/>
          <a:p>
            <a:r>
              <a:rPr lang="en-US" dirty="0"/>
              <a:t>Reflection &amp; Safety S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86055" y="5260939"/>
            <a:ext cx="883847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Presented by</a:t>
            </a:r>
          </a:p>
          <a:p>
            <a:pPr defTabSz="609585"/>
            <a:r>
              <a:rPr lang="en-US" sz="2000" b="1" dirty="0">
                <a:latin typeface="Georgia"/>
                <a:cs typeface="Georgia"/>
              </a:rPr>
              <a:t>Michael </a:t>
            </a:r>
            <a:r>
              <a:rPr lang="en-US" sz="2000" b="1" dirty="0" err="1">
                <a:latin typeface="Georgia"/>
                <a:cs typeface="Georgia"/>
              </a:rPr>
              <a:t>Chamales</a:t>
            </a:r>
            <a:r>
              <a:rPr lang="en-US" sz="2000" b="1" dirty="0">
                <a:latin typeface="Georgia"/>
                <a:cs typeface="Georgia"/>
              </a:rPr>
              <a:t>, MD</a:t>
            </a:r>
          </a:p>
          <a:p>
            <a:pPr defTabSz="609585"/>
            <a:r>
              <a:rPr lang="en-US" sz="2000" b="1" dirty="0">
                <a:latin typeface="Georgia"/>
                <a:cs typeface="Georgia"/>
              </a:rPr>
              <a:t>Medical Director</a:t>
            </a:r>
          </a:p>
          <a:p>
            <a:pPr defTabSz="609585"/>
            <a:r>
              <a:rPr lang="en-US" sz="2000" b="1" dirty="0">
                <a:latin typeface="Georgia"/>
                <a:cs typeface="Georgia"/>
              </a:rPr>
              <a:t>Covenant Emergency Services</a:t>
            </a:r>
          </a:p>
        </p:txBody>
      </p:sp>
    </p:spTree>
    <p:extLst>
      <p:ext uri="{BB962C8B-B14F-4D97-AF65-F5344CB8AC3E}">
        <p14:creationId xmlns:p14="http://schemas.microsoft.com/office/powerpoint/2010/main" val="4160626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xmlns="" id="{DD8E7C6D-47D4-0742-8C00-B2E2F23FB10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24273" y="1405870"/>
            <a:ext cx="1654629" cy="1654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xmlns="" id="{ADBD9781-EE97-3A49-8FEF-07182B1A80B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390" name="Picture 6">
            <a:extLst>
              <a:ext uri="{FF2B5EF4-FFF2-40B4-BE49-F238E27FC236}">
                <a16:creationId xmlns:a16="http://schemas.microsoft.com/office/drawing/2014/main" xmlns="" id="{988D1D23-90F9-374F-878A-A83C3CE37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41" y="4103914"/>
            <a:ext cx="2756636" cy="2754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Image may contain: 1 person, closeup">
            <a:extLst>
              <a:ext uri="{FF2B5EF4-FFF2-40B4-BE49-F238E27FC236}">
                <a16:creationId xmlns:a16="http://schemas.microsoft.com/office/drawing/2014/main" xmlns="" id="{BB2BB603-7E94-E34E-B3C6-1C2F6A405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706" y="1534886"/>
            <a:ext cx="4799122" cy="3599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333B284C-C51A-3D4B-B455-A7A5AEDA77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36416" y="626735"/>
            <a:ext cx="4726790" cy="560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4727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89DCC3-528C-FA4A-AA15-C0645D408E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3025" y="2893681"/>
            <a:ext cx="11463454" cy="193479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Visitation: Tues. Nov 10, 6-8 pm Lakewood Chapel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Services for Dr. Fitz will be live-streamed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ed, Nov 11</a:t>
            </a:r>
            <a:r>
              <a:rPr lang="en-US" baseline="30000" dirty="0">
                <a:solidFill>
                  <a:schemeClr val="tx1"/>
                </a:solidFill>
              </a:rPr>
              <a:t>th</a:t>
            </a:r>
            <a:r>
              <a:rPr lang="en-US" dirty="0">
                <a:solidFill>
                  <a:schemeClr val="tx1"/>
                </a:solidFill>
              </a:rPr>
              <a:t>, 11:00 a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096D1A1-5AA0-434C-9690-D146FE4B4590}"/>
              </a:ext>
            </a:extLst>
          </p:cNvPr>
          <p:cNvSpPr txBox="1"/>
          <p:nvPr/>
        </p:nvSpPr>
        <p:spPr>
          <a:xfrm>
            <a:off x="6478858" y="4081347"/>
            <a:ext cx="47020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/>
              <a:t>Knipling</a:t>
            </a:r>
            <a:r>
              <a:rPr lang="en-US" sz="2400" dirty="0"/>
              <a:t> Education Center</a:t>
            </a:r>
          </a:p>
          <a:p>
            <a:r>
              <a:rPr lang="en-US" sz="2400" dirty="0"/>
              <a:t>CMC Physician Dining Room</a:t>
            </a:r>
          </a:p>
        </p:txBody>
      </p:sp>
    </p:spTree>
    <p:extLst>
      <p:ext uri="{BB962C8B-B14F-4D97-AF65-F5344CB8AC3E}">
        <p14:creationId xmlns:p14="http://schemas.microsoft.com/office/powerpoint/2010/main" val="2904266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4C1FEB-6C03-1E47-8E7C-A8891A3B47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r Bodine</a:t>
            </a:r>
            <a:br>
              <a:rPr lang="en-US" dirty="0"/>
            </a:br>
            <a:r>
              <a:rPr lang="en-US" sz="2000" dirty="0"/>
              <a:t>Yoakum County Hospital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A493030F-1F49-1B4F-98D6-548C6F3F71CD}"/>
              </a:ext>
            </a:extLst>
          </p:cNvPr>
          <p:cNvSpPr txBox="1"/>
          <p:nvPr/>
        </p:nvSpPr>
        <p:spPr>
          <a:xfrm>
            <a:off x="1349298" y="5597912"/>
            <a:ext cx="27026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d by: </a:t>
            </a:r>
          </a:p>
          <a:p>
            <a:r>
              <a:rPr lang="en-US" dirty="0"/>
              <a:t>Collin McLarty</a:t>
            </a:r>
          </a:p>
          <a:p>
            <a:r>
              <a:rPr lang="en-US" dirty="0"/>
              <a:t>Yoakum County Hospital</a:t>
            </a:r>
          </a:p>
        </p:txBody>
      </p:sp>
    </p:spTree>
    <p:extLst>
      <p:ext uri="{BB962C8B-B14F-4D97-AF65-F5344CB8AC3E}">
        <p14:creationId xmlns:p14="http://schemas.microsoft.com/office/powerpoint/2010/main" val="2018964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27247</TotalTime>
  <Words>1747</Words>
  <Application>Microsoft Office PowerPoint</Application>
  <PresentationFormat>Widescreen</PresentationFormat>
  <Paragraphs>569</Paragraphs>
  <Slides>56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75" baseType="lpstr">
      <vt:lpstr> Arial</vt:lpstr>
      <vt:lpstr>Arial</vt:lpstr>
      <vt:lpstr>Arial Narrow</vt:lpstr>
      <vt:lpstr>Baskerville Old Face</vt:lpstr>
      <vt:lpstr>Calibri</vt:lpstr>
      <vt:lpstr>Calisto MT</vt:lpstr>
      <vt:lpstr>Georgia</vt:lpstr>
      <vt:lpstr>Helvetica Neue Medium</vt:lpstr>
      <vt:lpstr>Segoe UI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Office Theme</vt:lpstr>
      <vt:lpstr>think-cell Slide</vt:lpstr>
      <vt:lpstr>Covenant Health Presents    Critical Communications: A Weekly Physician Update  November 6th, 2020</vt:lpstr>
      <vt:lpstr>PowerPoint Presentation</vt:lpstr>
      <vt:lpstr>Disclosures of Commercial Interest</vt:lpstr>
      <vt:lpstr>Disclosures</vt:lpstr>
      <vt:lpstr>CME Credit was only approved for the Live Teams meeting</vt:lpstr>
      <vt:lpstr>Reflection &amp; Safety Story</vt:lpstr>
      <vt:lpstr>PowerPoint Presentation</vt:lpstr>
      <vt:lpstr>Visitation: Tues. Nov 10, 6-8 pm Lakewood Chapel Services for Dr. Fitz will be live-streamed  Wed, Nov 11th, 11:00 am</vt:lpstr>
      <vt:lpstr>Dr Bodine Yoakum County Hospital</vt:lpstr>
      <vt:lpstr>REFLECTION</vt:lpstr>
      <vt:lpstr>PowerPoint Presentation</vt:lpstr>
      <vt:lpstr>PowerPoint Presentation</vt:lpstr>
      <vt:lpstr>If you have thoughts or remembrances of these fine gentlemen, feel free to share them in the Chat Box</vt:lpstr>
      <vt:lpstr>Current Regional Covid-19 Census</vt:lpstr>
      <vt:lpstr>STATE</vt:lpstr>
      <vt:lpstr>COVID+ HOSPITALIZATIONS BY TSA ID</vt:lpstr>
      <vt:lpstr>Lubbock as of Thursday AM</vt:lpstr>
      <vt:lpstr>DSHS – RAC Meeting</vt:lpstr>
      <vt:lpstr>RAC-DSHS</vt:lpstr>
      <vt:lpstr>PUI/Confirmed cases-hospitalized</vt:lpstr>
      <vt:lpstr>PUI/Confirmed  cases-hospitalized</vt:lpstr>
      <vt:lpstr>Surge Plan</vt:lpstr>
      <vt:lpstr>CENSUS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 Covid-19 Daily Positive Rate </vt:lpstr>
      <vt:lpstr>TX/NM Region Weekly Procedures (YOY)</vt:lpstr>
      <vt:lpstr>Caregiver  Update</vt:lpstr>
      <vt:lpstr>PowerPoint Presentation</vt:lpstr>
      <vt:lpstr>PowerPoint Presentation</vt:lpstr>
      <vt:lpstr>VISITATION</vt:lpstr>
      <vt:lpstr>HOT TOPIC n-95 </vt:lpstr>
      <vt:lpstr>HOT TOPIC n-95 </vt:lpstr>
      <vt:lpstr>HOT TOPIC n-95 </vt:lpstr>
      <vt:lpstr>HOT TOPIC isolation gowns </vt:lpstr>
      <vt:lpstr>Covid-19 Testing</vt:lpstr>
      <vt:lpstr>TESTING</vt:lpstr>
      <vt:lpstr>Pharmacy Update</vt:lpstr>
      <vt:lpstr>Pharmacy Update</vt:lpstr>
      <vt:lpstr>Regeneron 2066 Trial</vt:lpstr>
      <vt:lpstr>2066 Criteria for Inclusion</vt:lpstr>
      <vt:lpstr>Communications Update</vt:lpstr>
      <vt:lpstr>ARAC-BRAC Collaboration</vt:lpstr>
      <vt:lpstr>Electronic Prescribing</vt:lpstr>
      <vt:lpstr>Texas Demographics</vt:lpstr>
      <vt:lpstr>PowerPoint Presentation</vt:lpstr>
      <vt:lpstr>PowerPoint Presentation</vt:lpstr>
      <vt:lpstr>PowerPoint Presentation</vt:lpstr>
      <vt:lpstr>New Mexico Demographics</vt:lpstr>
      <vt:lpstr>PowerPoint Presentation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</dc:title>
  <dc:creator>Rhyne, Craig</dc:creator>
  <cp:lastModifiedBy>Hope</cp:lastModifiedBy>
  <cp:revision>630</cp:revision>
  <cp:lastPrinted>2020-10-16T15:04:20Z</cp:lastPrinted>
  <dcterms:created xsi:type="dcterms:W3CDTF">2020-04-06T15:45:06Z</dcterms:created>
  <dcterms:modified xsi:type="dcterms:W3CDTF">2020-11-06T19:27:31Z</dcterms:modified>
</cp:coreProperties>
</file>